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2E5CA431-AFCB-AD7E-C79E-26B59B00EA37}" name="Kalisa Jenne-Fraser (SYNAXIS CORPORATION)" initials="KJ" userId="S::v-kalisajen@microsoft.com::de9ee15a-c645-43f2-a73b-6d05f9e668b3" providerId="AD"/>
  <p188:author id="{42827239-A550-492D-1576-CE1DCACE4914}" name="Daryl Schaal (SYNAXIS CORPORATION)" initials="DS" userId="S::v-darsch@microsoft.com::a951ecaa-969a-4477-a8c9-df0dfa026182" providerId="AD"/>
  <p188:author id="{1CC9BD66-4965-66EC-D43C-4175EDB96078}" name="Erin McHugh Saif" initials="" userId="S::ermchugh@microsoft.com::9f93b4d3-52d4-4220-a190-55567abe2076" providerId="AD"/>
  <p188:author id="{0AF83D72-BA31-CE2B-D76F-59446C5DD042}" name="Aysha Kaushik" initials="AK" userId="S::aypathak@microsoft.com::549cd2d3-dab8-4c0c-ac06-1c38fc8f43a9" providerId="AD"/>
  <p188:author id="{AD354776-933C-5BDF-6C9E-2409DB95755A}" name="Lisa Fernow (ANDERSEN CONSULTANTS LLC)" initials="LL" userId="S::v-fernowlisa@microsoft.com::da10156c-1dd1-44f6-80d8-a41de904022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5" d="100"/>
          <a:sy n="95" d="100"/>
        </p:scale>
        <p:origin x="792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332</Words>
  <Application>Microsoft Office PowerPoint</Application>
  <PresentationFormat>Widescreen</PresentationFormat>
  <Paragraphs>3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Execute a project revie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4-13T21:09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